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33"/>
  </p:notesMasterIdLst>
  <p:sldIdLst>
    <p:sldId id="269" r:id="rId8"/>
    <p:sldId id="297" r:id="rId9"/>
    <p:sldId id="266" r:id="rId10"/>
    <p:sldId id="441" r:id="rId11"/>
    <p:sldId id="443" r:id="rId12"/>
    <p:sldId id="442" r:id="rId13"/>
    <p:sldId id="522" r:id="rId14"/>
    <p:sldId id="504" r:id="rId15"/>
    <p:sldId id="523" r:id="rId16"/>
    <p:sldId id="524" r:id="rId17"/>
    <p:sldId id="525" r:id="rId18"/>
    <p:sldId id="527" r:id="rId19"/>
    <p:sldId id="419" r:id="rId20"/>
    <p:sldId id="535" r:id="rId21"/>
    <p:sldId id="528" r:id="rId22"/>
    <p:sldId id="529" r:id="rId23"/>
    <p:sldId id="530" r:id="rId24"/>
    <p:sldId id="536" r:id="rId25"/>
    <p:sldId id="515" r:id="rId26"/>
    <p:sldId id="531" r:id="rId27"/>
    <p:sldId id="532" r:id="rId28"/>
    <p:sldId id="533" r:id="rId29"/>
    <p:sldId id="534" r:id="rId30"/>
    <p:sldId id="1098" r:id="rId31"/>
    <p:sldId id="1107" r:id="rId32"/>
  </p:sldIdLst>
  <p:sldSz cx="9144000" cy="6858000" type="screen4x3"/>
  <p:notesSz cx="6737350" cy="9869488"/>
  <p:custDataLst>
    <p:tags r:id="rId3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2"/>
    <a:srgbClr val="4472C4"/>
    <a:srgbClr val="8A8E99"/>
    <a:srgbClr val="E1E1E0"/>
    <a:srgbClr val="E3E3E2"/>
    <a:srgbClr val="FF3300"/>
    <a:srgbClr val="009650"/>
    <a:srgbClr val="FFFFCC"/>
    <a:srgbClr val="00786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AD7AE4-60C6-46A6-BFC7-F16CC3643173}" v="1" dt="2025-03-13T00:58:32.0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5038" autoAdjust="0"/>
  </p:normalViewPr>
  <p:slideViewPr>
    <p:cSldViewPr snapToGrid="0" snapToObjects="1">
      <p:cViewPr varScale="1">
        <p:scale>
          <a:sx n="76" d="100"/>
          <a:sy n="76" d="100"/>
        </p:scale>
        <p:origin x="1064" y="56"/>
      </p:cViewPr>
      <p:guideLst>
        <p:guide orient="horz" pos="16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4" d="100"/>
          <a:sy n="44" d="100"/>
        </p:scale>
        <p:origin x="2792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2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3" tIns="45727" rIns="91453" bIns="45727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04243" y="4749693"/>
            <a:ext cx="5928868" cy="3886111"/>
          </a:xfrm>
          <a:prstGeom prst="rect">
            <a:avLst/>
          </a:prstGeom>
        </p:spPr>
        <p:txBody>
          <a:bodyPr vert="horz" lIns="91453" tIns="45727" rIns="91453" bIns="45727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9D70A2-48B3-8C49-94CE-6C7B60AB59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1104A2E-2035-733E-2AA3-B9AC5F25E9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9A86971-77D3-1FF6-A774-C0E79CFB84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556AE37-9959-5B02-F302-58E1D2971A8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156868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F46E897-C207-9152-40AC-91FE7C2C40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C33F795-00CE-B965-A10A-BE913E3BF30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029255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885B1EC-5A25-4F9F-1D8D-DBAC416199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CA37CFB-BFD7-AC15-D24A-ADB0F719273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7775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424C983-BD8D-A4F3-606C-7FD43843D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6B8958E-23FE-D49F-3F26-DC9B2CA828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350270F-0AB9-A013-F4B3-43C20E019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24E3B4D-1852-A5E4-9706-23311DFA4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72407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3978893E-79E0-E560-656A-04C34F4FC4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B49269A-FE9C-E89D-2D01-665C555F271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6561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2DE5628E-9A2D-26C5-5F5D-E7C29BE5B2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69F62E-CFFB-22CC-1AF8-742399CCDA0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53441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AB7776B-453F-4B43-C6C6-1C60EAAD69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A359618-5394-78B8-AF27-02468C025FC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441883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63909CF-EF1A-F4D4-7C83-8A64363801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94E7EBD-5D93-2F77-8DD1-B3220C207E8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9617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3D7F191-A7D9-33F6-F3D5-547201D652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D45C099-FA64-8EA8-E161-E3F5F9DA04D2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46539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8B59395-7EA9-0490-0CC0-7D93E116A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CC5F500-0AFA-517C-ABF6-3EFB9ECD4C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1D7DAB6E-6477-F2B7-98C9-2E8AAD56E3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8C97E07-70C3-C1DF-DEBF-15EFABC72DA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92345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43D1CF61-D3F5-35DF-EF47-E89A51FA3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2981682-3CB1-7B38-511D-08FBEE5C0B1D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32839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D74B723C-CFAF-C9EE-3075-81F1DC785F1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500538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EE1BC52-96CE-5250-F722-8C2436AE0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4CC6588-A2E4-63E4-4D18-FA0E2178BA5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919628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4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05ED26EF-4D4F-C664-E67A-0B227AB708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3DD0BCD-3AD2-7D58-BFF5-C8525C3F2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5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4655D94-C25B-8B69-E6A9-C7F1E04DFC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30945F-EE6E-8E05-A3CB-5A30025C0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D113A11-BE63-3311-C2AF-3FF1395F2C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26FF274-1D29-864D-7F20-F3770AB11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030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2E6B405-19B4-B3BD-BA65-0823E1FC4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E07078-3991-AD12-F96F-A07C450459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840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E451E9-EE10-E787-8BA8-B414B1FEC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32258B3-A886-479C-84E9-A93220B0D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9988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837F520-FCB4-5DF7-218E-BDED0C466B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755720E-2F15-F1F1-B225-619A8490BA3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91094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322B7D3-184B-8209-20B8-148BEB28D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A0CFEA4-F17C-82AB-A720-B10400932F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9581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2554093-A777-4034-836A-26023E16E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6BAA39D-629C-153B-2A0A-6DA14453287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718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400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0230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036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755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4014" userDrawn="1">
          <p15:clr>
            <a:srgbClr val="FBAE40"/>
          </p15:clr>
        </p15:guide>
        <p15:guide id="33" pos="3107" userDrawn="1">
          <p15:clr>
            <a:srgbClr val="FBAE40"/>
          </p15:clr>
        </p15:guide>
        <p15:guide id="34" pos="45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1EA0F4DE-D5EF-4D79-AB29-42F50DC43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9175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1EA0F4DE-D5EF-4D79-AB29-42F50DC43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D5B86DF1-F08D-48F6-B16C-C943DC608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088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D5B86DF1-F08D-48F6-B16C-C943DC608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E337DD21-3960-4838-9E9B-6B146EDB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44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E337DD21-3960-4838-9E9B-6B146EDB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2.png"/><Relationship Id="rId9" Type="http://schemas.openxmlformats.org/officeDocument/2006/relationships/image" Target="../media/image25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24.png"/><Relationship Id="rId5" Type="http://schemas.openxmlformats.org/officeDocument/2006/relationships/image" Target="../media/image27.png"/><Relationship Id="rId10" Type="http://schemas.openxmlformats.org/officeDocument/2006/relationships/image" Target="../media/image28.png"/><Relationship Id="rId4" Type="http://schemas.openxmlformats.org/officeDocument/2006/relationships/image" Target="../media/image26.jpg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7.png"/><Relationship Id="rId4" Type="http://schemas.openxmlformats.org/officeDocument/2006/relationships/image" Target="../media/image29.png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microsoft.com/office/2007/relationships/hdphoto" Target="../media/hdphoto2.wdp"/><Relationship Id="rId11" Type="http://schemas.openxmlformats.org/officeDocument/2006/relationships/image" Target="../media/image1.emf"/><Relationship Id="rId5" Type="http://schemas.openxmlformats.org/officeDocument/2006/relationships/image" Target="../media/image34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33.PNG"/><Relationship Id="rId9" Type="http://schemas.openxmlformats.org/officeDocument/2006/relationships/image" Target="../media/image2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5.bin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9639427-42FE-48A2-AFC9-6B5780ABB3DA}"/>
              </a:ext>
            </a:extLst>
          </p:cNvPr>
          <p:cNvSpPr txBox="1"/>
          <p:nvPr/>
        </p:nvSpPr>
        <p:spPr>
          <a:xfrm>
            <a:off x="694551" y="235655"/>
            <a:ext cx="2350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｜</a:t>
            </a:r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  <a:endParaRPr lang="ja-JP" altLang="en-US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角丸四角形 12"/>
          <p:cNvSpPr/>
          <p:nvPr/>
        </p:nvSpPr>
        <p:spPr>
          <a:xfrm>
            <a:off x="613896" y="224641"/>
            <a:ext cx="2511634" cy="39136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" name="図 4" descr="図形, 正方形&#10;&#10;自動的に生成された説明">
            <a:extLst>
              <a:ext uri="{FF2B5EF4-FFF2-40B4-BE49-F238E27FC236}">
                <a16:creationId xmlns:a16="http://schemas.microsoft.com/office/drawing/2014/main" id="{D0A1F4EB-4289-2110-61A2-5C84DFA2A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3307" y="4247897"/>
            <a:ext cx="1200663" cy="2368341"/>
          </a:xfrm>
          <a:prstGeom prst="rect">
            <a:avLst/>
          </a:prstGeom>
        </p:spPr>
      </p:pic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1646F0C-889F-C6B3-D977-919C99564777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アプリを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てみよ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925CFCF-2513-67FA-F6D2-54E58EA3DD43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1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3516E9A-A3EE-0C7E-63A5-F63D0A85A083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892CC7B3-21C5-0BDC-DB25-677E69E695D9}"/>
              </a:ext>
            </a:extLst>
          </p:cNvPr>
          <p:cNvGrpSpPr/>
          <p:nvPr/>
        </p:nvGrpSpPr>
        <p:grpSpPr>
          <a:xfrm>
            <a:off x="5764129" y="2253439"/>
            <a:ext cx="2154208" cy="4498577"/>
            <a:chOff x="5726571" y="2712370"/>
            <a:chExt cx="2011987" cy="4041472"/>
          </a:xfrm>
        </p:grpSpPr>
        <p:pic>
          <p:nvPicPr>
            <p:cNvPr id="8" name="図 7" descr="「Playストア」のホーム画面の画像">
              <a:extLst>
                <a:ext uri="{FF2B5EF4-FFF2-40B4-BE49-F238E27FC236}">
                  <a16:creationId xmlns:a16="http://schemas.microsoft.com/office/drawing/2014/main" id="{D337014C-2D24-C97B-35B8-A7E6EF33B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6571" y="2712370"/>
              <a:ext cx="2011987" cy="404147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9EDC02C0-0A63-5FFB-ED6E-6129629028F7}"/>
                </a:ext>
              </a:extLst>
            </p:cNvPr>
            <p:cNvSpPr/>
            <p:nvPr/>
          </p:nvSpPr>
          <p:spPr>
            <a:xfrm>
              <a:off x="6137485" y="3188444"/>
              <a:ext cx="763314" cy="32246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8E52C395-FBA4-8A09-7DCA-DE701295A521}"/>
                </a:ext>
              </a:extLst>
            </p:cNvPr>
            <p:cNvSpPr/>
            <p:nvPr/>
          </p:nvSpPr>
          <p:spPr>
            <a:xfrm>
              <a:off x="6300192" y="6109831"/>
              <a:ext cx="360040" cy="307777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23903" y="4886776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31857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31857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3356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33562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　　　を押し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カテゴリ」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字幕 14">
            <a:extLst>
              <a:ext uri="{FF2B5EF4-FFF2-40B4-BE49-F238E27FC236}">
                <a16:creationId xmlns:a16="http://schemas.microsoft.com/office/drawing/2014/main" id="{609A14D0-EA95-7404-B3DA-503402EDF2E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C17C406-3C11-91B5-3BB6-535EE77F7BD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504EBF7-4C3F-811B-C777-F68EA6E7E7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6" t="84061" r="54264" b="8114"/>
          <a:stretch>
            <a:fillRect/>
          </a:stretch>
        </p:blipFill>
        <p:spPr>
          <a:xfrm>
            <a:off x="6519520" y="1485235"/>
            <a:ext cx="346142" cy="346142"/>
          </a:xfrm>
          <a:custGeom>
            <a:avLst/>
            <a:gdLst>
              <a:gd name="connsiteX0" fmla="*/ 84139 w 504825"/>
              <a:gd name="connsiteY0" fmla="*/ 0 h 504825"/>
              <a:gd name="connsiteX1" fmla="*/ 420686 w 504825"/>
              <a:gd name="connsiteY1" fmla="*/ 0 h 504825"/>
              <a:gd name="connsiteX2" fmla="*/ 504825 w 504825"/>
              <a:gd name="connsiteY2" fmla="*/ 84139 h 504825"/>
              <a:gd name="connsiteX3" fmla="*/ 504825 w 504825"/>
              <a:gd name="connsiteY3" fmla="*/ 420686 h 504825"/>
              <a:gd name="connsiteX4" fmla="*/ 420686 w 504825"/>
              <a:gd name="connsiteY4" fmla="*/ 504825 h 504825"/>
              <a:gd name="connsiteX5" fmla="*/ 84139 w 504825"/>
              <a:gd name="connsiteY5" fmla="*/ 504825 h 504825"/>
              <a:gd name="connsiteX6" fmla="*/ 0 w 504825"/>
              <a:gd name="connsiteY6" fmla="*/ 420686 h 504825"/>
              <a:gd name="connsiteX7" fmla="*/ 0 w 504825"/>
              <a:gd name="connsiteY7" fmla="*/ 84139 h 504825"/>
              <a:gd name="connsiteX8" fmla="*/ 84139 w 504825"/>
              <a:gd name="connsiteY8" fmla="*/ 0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825" h="504825">
                <a:moveTo>
                  <a:pt x="84139" y="0"/>
                </a:moveTo>
                <a:lnTo>
                  <a:pt x="420686" y="0"/>
                </a:lnTo>
                <a:cubicBezTo>
                  <a:pt x="467155" y="0"/>
                  <a:pt x="504825" y="37670"/>
                  <a:pt x="504825" y="84139"/>
                </a:cubicBezTo>
                <a:lnTo>
                  <a:pt x="504825" y="420686"/>
                </a:lnTo>
                <a:cubicBezTo>
                  <a:pt x="504825" y="467155"/>
                  <a:pt x="467155" y="504825"/>
                  <a:pt x="420686" y="504825"/>
                </a:cubicBezTo>
                <a:lnTo>
                  <a:pt x="84139" y="504825"/>
                </a:lnTo>
                <a:cubicBezTo>
                  <a:pt x="37670" y="504825"/>
                  <a:pt x="0" y="467155"/>
                  <a:pt x="0" y="420686"/>
                </a:cubicBezTo>
                <a:lnTo>
                  <a:pt x="0" y="84139"/>
                </a:lnTo>
                <a:cubicBezTo>
                  <a:pt x="0" y="37670"/>
                  <a:pt x="37670" y="0"/>
                  <a:pt x="84139" y="0"/>
                </a:cubicBezTo>
                <a:close/>
              </a:path>
            </a:pathLst>
          </a:custGeom>
          <a:ln w="9525">
            <a:noFill/>
          </a:ln>
          <a:effectLst/>
        </p:spPr>
      </p:pic>
      <p:pic>
        <p:nvPicPr>
          <p:cNvPr id="26" name="図 25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F888507F-CCA6-EF21-46D0-D06DD911EB9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329463" y="1858969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80909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2E431397-2393-D071-E302-7753DE559C54}"/>
              </a:ext>
            </a:extLst>
          </p:cNvPr>
          <p:cNvGrpSpPr/>
          <p:nvPr/>
        </p:nvGrpSpPr>
        <p:grpSpPr>
          <a:xfrm>
            <a:off x="5759062" y="2249372"/>
            <a:ext cx="2142827" cy="4485041"/>
            <a:chOff x="1187624" y="2708275"/>
            <a:chExt cx="1909241" cy="4040976"/>
          </a:xfrm>
        </p:grpSpPr>
        <p:pic>
          <p:nvPicPr>
            <p:cNvPr id="23" name="図 22">
              <a:extLst>
                <a:ext uri="{FF2B5EF4-FFF2-40B4-BE49-F238E27FC236}">
                  <a16:creationId xmlns:a16="http://schemas.microsoft.com/office/drawing/2014/main" id="{3BA21579-D543-E7B5-80F9-FA9BE1BBC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7624" y="2708275"/>
              <a:ext cx="1909241" cy="404097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2F7527DA-7054-333D-FD95-04A166D93C21}"/>
                </a:ext>
              </a:extLst>
            </p:cNvPr>
            <p:cNvSpPr/>
            <p:nvPr/>
          </p:nvSpPr>
          <p:spPr>
            <a:xfrm>
              <a:off x="1251049" y="4304924"/>
              <a:ext cx="1773014" cy="54360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D4C61708-C029-2898-BB69-52241BF5D73F}"/>
              </a:ext>
            </a:extLst>
          </p:cNvPr>
          <p:cNvGrpSpPr/>
          <p:nvPr/>
        </p:nvGrpSpPr>
        <p:grpSpPr>
          <a:xfrm>
            <a:off x="1179695" y="2266967"/>
            <a:ext cx="2142827" cy="4485048"/>
            <a:chOff x="3450154" y="2730308"/>
            <a:chExt cx="1986265" cy="3998549"/>
          </a:xfrm>
        </p:grpSpPr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DEE5A34D-7AF8-7CC8-16A9-40D26D810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154" y="2730308"/>
              <a:ext cx="1986265" cy="399854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7" name="四角形: 角を丸くする 16">
              <a:extLst>
                <a:ext uri="{FF2B5EF4-FFF2-40B4-BE49-F238E27FC236}">
                  <a16:creationId xmlns:a16="http://schemas.microsoft.com/office/drawing/2014/main" id="{6E499579-73EE-27D2-490F-232FB0BF5220}"/>
                </a:ext>
              </a:extLst>
            </p:cNvPr>
            <p:cNvSpPr/>
            <p:nvPr/>
          </p:nvSpPr>
          <p:spPr>
            <a:xfrm>
              <a:off x="3537584" y="3252953"/>
              <a:ext cx="1836491" cy="35844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テゴリの画面が表示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されたら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ツー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目的の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ポータ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押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CCC034C1-A0EB-EC30-CA8A-A364C6E1D5CF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E8E8842-A59A-EC9B-5FD9-D2F65DBCF9FB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476275C-8E6B-97C7-992D-0D4B2AFF1577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699734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765510" y="3304001"/>
              <a:ext cx="610438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42481"/>
              <a:ext cx="765681" cy="331292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タイトル 1">
            <a:extLst>
              <a:ext uri="{FF2B5EF4-FFF2-40B4-BE49-F238E27FC236}">
                <a16:creationId xmlns:a16="http://schemas.microsoft.com/office/drawing/2014/main" id="{2D292353-04A1-11A3-5FA5-840987A714B0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15DA2910-7295-5C6D-791F-F76D0BDC2D5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字幕 14">
            <a:extLst>
              <a:ext uri="{FF2B5EF4-FFF2-40B4-BE49-F238E27FC236}">
                <a16:creationId xmlns:a16="http://schemas.microsoft.com/office/drawing/2014/main" id="{E32203AE-9613-D2FB-18FC-89DD0D0A62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2504102-CCB8-36DB-D9C4-7ED8B0C69E9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482004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アイコン&#10;&#10;自動的に生成された説明">
            <a:extLst>
              <a:ext uri="{FF2B5EF4-FFF2-40B4-BE49-F238E27FC236}">
                <a16:creationId xmlns:a16="http://schemas.microsoft.com/office/drawing/2014/main" id="{A062EA98-20CC-9839-3D3C-52D7B9BB2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25" y="3933056"/>
            <a:ext cx="2247868" cy="238924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E47B53C3-B6D1-3BDF-74F2-2A1AA08A0C54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iPhone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DCFE6228-D914-8207-A25B-ED9F12C775E1}"/>
              </a:ext>
            </a:extLst>
          </p:cNvPr>
          <p:cNvSpPr txBox="1"/>
          <p:nvPr/>
        </p:nvSpPr>
        <p:spPr>
          <a:xfrm>
            <a:off x="748116" y="2178321"/>
            <a:ext cx="6412537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（アップストア）からは色々なアプリが入手でき、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ここにあるアプリは全て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l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の認証を得ていますので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安全性が保証されています。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なお有料と無料のアプリがありますのでご注意下さい。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9A2AECA-EFA3-DD05-4040-98F5C7433783}"/>
              </a:ext>
            </a:extLst>
          </p:cNvPr>
          <p:cNvSpPr/>
          <p:nvPr/>
        </p:nvSpPr>
        <p:spPr>
          <a:xfrm>
            <a:off x="742687" y="3948816"/>
            <a:ext cx="766257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BBB0F5C8-5391-B2F2-BE3C-791671245F34}"/>
              </a:ext>
            </a:extLst>
          </p:cNvPr>
          <p:cNvGraphicFramePr>
            <a:graphicFrameLocks noGrp="1"/>
          </p:cNvGraphicFramePr>
          <p:nvPr/>
        </p:nvGraphicFramePr>
        <p:xfrm>
          <a:off x="738743" y="3941437"/>
          <a:ext cx="7681391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5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App Store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を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  <a:endParaRPr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App Store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iOS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kumimoji="1"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Ver.16.4.1</a:t>
                      </a:r>
                      <a:endParaRPr kumimoji="1"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図 7" descr="「App Store（アップストア）」のアイコンの画像">
            <a:extLst>
              <a:ext uri="{FF2B5EF4-FFF2-40B4-BE49-F238E27FC236}">
                <a16:creationId xmlns:a16="http://schemas.microsoft.com/office/drawing/2014/main" id="{8A7D4802-BE6D-B69B-593A-5AFEF5B63D1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50671" y="4388499"/>
            <a:ext cx="822335" cy="8552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865434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App Store</a:t>
            </a:r>
            <a:r>
              <a:rPr lang="ja-JP" altLang="en-US" dirty="0"/>
              <a:t>からインストール</a:t>
            </a:r>
            <a:endParaRPr kumimoji="0" lang="ja-JP" altLang="en-US" kern="0" dirty="0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CE4C04BB-C617-5E52-2EEC-7A9D7FDD0E1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３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AD640430-8463-2A1C-271B-9AFE08278EF2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らアプリをインストールしましょう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275909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44540"/>
            <a:chOff x="5669166" y="2712542"/>
            <a:chExt cx="2060365" cy="4082406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7350216" y="6472962"/>
              <a:ext cx="353155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290059" y="2952758"/>
              <a:ext cx="479160" cy="4108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検索　　　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6238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D73588E-D19E-DB21-42C7-138E8D35743C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402F651D-7B4E-22D0-8700-CB1271CFA683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1B6AE7E-3332-A8B3-0C6F-3E2939A487AF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16" name="図 15" descr="「App Store」のホーム画面の画像">
            <a:extLst>
              <a:ext uri="{FF2B5EF4-FFF2-40B4-BE49-F238E27FC236}">
                <a16:creationId xmlns:a16="http://schemas.microsoft.com/office/drawing/2014/main" id="{B386C198-367E-F89F-401B-D5CAF362D4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22" t="93050" r="2851" b="314"/>
          <a:stretch>
            <a:fillRect/>
          </a:stretch>
        </p:blipFill>
        <p:spPr>
          <a:xfrm>
            <a:off x="6417231" y="1525468"/>
            <a:ext cx="360040" cy="328183"/>
          </a:xfrm>
          <a:custGeom>
            <a:avLst/>
            <a:gdLst>
              <a:gd name="connsiteX0" fmla="*/ 120144 w 547755"/>
              <a:gd name="connsiteY0" fmla="*/ 0 h 499288"/>
              <a:gd name="connsiteX1" fmla="*/ 427611 w 547755"/>
              <a:gd name="connsiteY1" fmla="*/ 0 h 499288"/>
              <a:gd name="connsiteX2" fmla="*/ 547755 w 547755"/>
              <a:gd name="connsiteY2" fmla="*/ 120144 h 499288"/>
              <a:gd name="connsiteX3" fmla="*/ 547755 w 547755"/>
              <a:gd name="connsiteY3" fmla="*/ 379144 h 499288"/>
              <a:gd name="connsiteX4" fmla="*/ 427611 w 547755"/>
              <a:gd name="connsiteY4" fmla="*/ 499288 h 499288"/>
              <a:gd name="connsiteX5" fmla="*/ 120144 w 547755"/>
              <a:gd name="connsiteY5" fmla="*/ 499288 h 499288"/>
              <a:gd name="connsiteX6" fmla="*/ 0 w 547755"/>
              <a:gd name="connsiteY6" fmla="*/ 379144 h 499288"/>
              <a:gd name="connsiteX7" fmla="*/ 0 w 547755"/>
              <a:gd name="connsiteY7" fmla="*/ 120144 h 499288"/>
              <a:gd name="connsiteX8" fmla="*/ 120144 w 547755"/>
              <a:gd name="connsiteY8" fmla="*/ 0 h 499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7755" h="499288">
                <a:moveTo>
                  <a:pt x="120144" y="0"/>
                </a:moveTo>
                <a:lnTo>
                  <a:pt x="427611" y="0"/>
                </a:lnTo>
                <a:cubicBezTo>
                  <a:pt x="493965" y="0"/>
                  <a:pt x="547755" y="53790"/>
                  <a:pt x="547755" y="120144"/>
                </a:cubicBezTo>
                <a:lnTo>
                  <a:pt x="547755" y="379144"/>
                </a:lnTo>
                <a:cubicBezTo>
                  <a:pt x="547755" y="445498"/>
                  <a:pt x="493965" y="499288"/>
                  <a:pt x="427611" y="499288"/>
                </a:cubicBezTo>
                <a:lnTo>
                  <a:pt x="120144" y="499288"/>
                </a:lnTo>
                <a:cubicBezTo>
                  <a:pt x="53790" y="499288"/>
                  <a:pt x="0" y="445498"/>
                  <a:pt x="0" y="379144"/>
                </a:cubicBezTo>
                <a:lnTo>
                  <a:pt x="0" y="120144"/>
                </a:lnTo>
                <a:cubicBezTo>
                  <a:pt x="0" y="53790"/>
                  <a:pt x="53790" y="0"/>
                  <a:pt x="120144" y="0"/>
                </a:cubicBezTo>
                <a:close/>
              </a:path>
            </a:pathLst>
          </a:custGeom>
          <a:ln w="9525"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7DF6A2A-82FC-B6F5-F5AF-136615E976AE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209504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B5091604-E28D-1566-B757-7F2C332CA8A7}"/>
              </a:ext>
            </a:extLst>
          </p:cNvPr>
          <p:cNvGrpSpPr>
            <a:grpSpLocks noChangeAspect="1"/>
          </p:cNvGrpSpPr>
          <p:nvPr/>
        </p:nvGrpSpPr>
        <p:grpSpPr>
          <a:xfrm>
            <a:off x="611057" y="2247837"/>
            <a:ext cx="3278700" cy="3885517"/>
            <a:chOff x="3450155" y="2565400"/>
            <a:chExt cx="1986264" cy="2353879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4D4F10-F7AE-6F3E-C402-ACAF556901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40668"/>
            <a:stretch/>
          </p:blipFill>
          <p:spPr>
            <a:xfrm>
              <a:off x="3450155" y="2565400"/>
              <a:ext cx="1986264" cy="235387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A7EDBEF1-DA75-CCFE-DC62-1248756565B4}"/>
                </a:ext>
              </a:extLst>
            </p:cNvPr>
            <p:cNvSpPr/>
            <p:nvPr/>
          </p:nvSpPr>
          <p:spPr>
            <a:xfrm>
              <a:off x="3484004" y="2888186"/>
              <a:ext cx="1900405" cy="3045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97A3E80-A85F-3991-5200-B5DA29CCB50E}"/>
              </a:ext>
            </a:extLst>
          </p:cNvPr>
          <p:cNvGrpSpPr>
            <a:grpSpLocks noChangeAspect="1"/>
          </p:cNvGrpSpPr>
          <p:nvPr/>
        </p:nvGrpSpPr>
        <p:grpSpPr>
          <a:xfrm>
            <a:off x="5395082" y="2235312"/>
            <a:ext cx="3853006" cy="2299500"/>
            <a:chOff x="1179679" y="2706780"/>
            <a:chExt cx="2382077" cy="1421639"/>
          </a:xfrm>
        </p:grpSpPr>
        <p:pic>
          <p:nvPicPr>
            <p:cNvPr id="34" name="図 33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79211DF8-F919-4C36-DBF8-D0C6FE502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57389"/>
            <a:stretch/>
          </p:blipFill>
          <p:spPr>
            <a:xfrm>
              <a:off x="1179679" y="2711557"/>
              <a:ext cx="2027575" cy="141686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5" name="四角形: 角を丸くする 34">
              <a:extLst>
                <a:ext uri="{FF2B5EF4-FFF2-40B4-BE49-F238E27FC236}">
                  <a16:creationId xmlns:a16="http://schemas.microsoft.com/office/drawing/2014/main" id="{4A7E1FE6-5A0A-9C35-750B-49DEF4B6AFE3}"/>
                </a:ext>
              </a:extLst>
            </p:cNvPr>
            <p:cNvSpPr/>
            <p:nvPr/>
          </p:nvSpPr>
          <p:spPr>
            <a:xfrm>
              <a:off x="1270054" y="2706780"/>
              <a:ext cx="1367969" cy="26610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AB3E68D6-E42F-F8B6-410F-E868DE40A4FE}"/>
                </a:ext>
              </a:extLst>
            </p:cNvPr>
            <p:cNvSpPr txBox="1"/>
            <p:nvPr/>
          </p:nvSpPr>
          <p:spPr>
            <a:xfrm>
              <a:off x="2576383" y="2915395"/>
              <a:ext cx="985373" cy="467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検索結果が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表示されます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65B26FC5-165D-BBE2-0B97-C09240506C9E}"/>
              </a:ext>
            </a:extLst>
          </p:cNvPr>
          <p:cNvGrpSpPr>
            <a:grpSpLocks noChangeAspect="1"/>
          </p:cNvGrpSpPr>
          <p:nvPr/>
        </p:nvGrpSpPr>
        <p:grpSpPr>
          <a:xfrm>
            <a:off x="5681785" y="4193346"/>
            <a:ext cx="3279600" cy="1940006"/>
            <a:chOff x="5687360" y="2706780"/>
            <a:chExt cx="2053371" cy="1214646"/>
          </a:xfrm>
        </p:grpSpPr>
        <p:pic>
          <p:nvPicPr>
            <p:cNvPr id="37" name="図 36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E412BC5D-19CC-C16B-6B49-8DC49528A2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63430"/>
            <a:stretch/>
          </p:blipFill>
          <p:spPr>
            <a:xfrm>
              <a:off x="5687360" y="2706780"/>
              <a:ext cx="2053371" cy="121464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8" name="四角形: 角を丸くする 37">
              <a:extLst>
                <a:ext uri="{FF2B5EF4-FFF2-40B4-BE49-F238E27FC236}">
                  <a16:creationId xmlns:a16="http://schemas.microsoft.com/office/drawing/2014/main" id="{F291087F-C77D-F10E-972E-09B7BBEFA033}"/>
                </a:ext>
              </a:extLst>
            </p:cNvPr>
            <p:cNvSpPr/>
            <p:nvPr/>
          </p:nvSpPr>
          <p:spPr>
            <a:xfrm>
              <a:off x="5722208" y="3058173"/>
              <a:ext cx="1504766" cy="2285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40" name="グラフィックス 39" descr="矢印: 反時計回りの曲線 単色塗りつぶし">
            <a:extLst>
              <a:ext uri="{FF2B5EF4-FFF2-40B4-BE49-F238E27FC236}">
                <a16:creationId xmlns:a16="http://schemas.microsoft.com/office/drawing/2014/main" id="{0CB5B4BE-76FE-C4E2-4821-38F10A3F66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138206" y="4060287"/>
            <a:ext cx="684107" cy="684107"/>
          </a:xfrm>
          <a:prstGeom prst="rect">
            <a:avLst/>
          </a:prstGeom>
        </p:spPr>
      </p:pic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F0A07B33-4BB4-F3DD-D1F5-B05A8B15288A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字幕 14">
            <a:extLst>
              <a:ext uri="{FF2B5EF4-FFF2-40B4-BE49-F238E27FC236}">
                <a16:creationId xmlns:a16="http://schemas.microsoft.com/office/drawing/2014/main" id="{C0400555-FFFB-FAD7-FCC3-917B65603AA6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52ABFFA-D074-C350-1DB2-D83B72E3C154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028E1F3-60F3-80D5-1127-F65EA49A01E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065337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入手」ボタンが表示されたアプリの紹介画面の画像">
            <a:extLst>
              <a:ext uri="{FF2B5EF4-FFF2-40B4-BE49-F238E27FC236}">
                <a16:creationId xmlns:a16="http://schemas.microsoft.com/office/drawing/2014/main" id="{01920165-BF38-CF1D-7147-E1AD397979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498" b="45"/>
          <a:stretch/>
        </p:blipFill>
        <p:spPr>
          <a:xfrm>
            <a:off x="940186" y="2253710"/>
            <a:ext cx="2175624" cy="373262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3B9A0958-74FF-65EC-8F5D-E3CB31107E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628" y="4642355"/>
            <a:ext cx="2213040" cy="1615580"/>
          </a:xfrm>
          <a:prstGeom prst="rect">
            <a:avLst/>
          </a:prstGeom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5498181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55938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0EC63CC9-3DE9-3990-B430-3011C7B3C712}"/>
              </a:ext>
            </a:extLst>
          </p:cNvPr>
          <p:cNvSpPr/>
          <p:nvPr/>
        </p:nvSpPr>
        <p:spPr>
          <a:xfrm>
            <a:off x="2478148" y="2699145"/>
            <a:ext cx="619892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77F9C78B-E05D-0C24-D078-8027AA0B6D84}"/>
              </a:ext>
            </a:extLst>
          </p:cNvPr>
          <p:cNvSpPr/>
          <p:nvPr/>
        </p:nvSpPr>
        <p:spPr>
          <a:xfrm>
            <a:off x="1999987" y="5784495"/>
            <a:ext cx="948529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7" name="グラフィックス 16" descr="矢印: 反時計回りの曲線 単色塗りつぶし">
            <a:extLst>
              <a:ext uri="{FF2B5EF4-FFF2-40B4-BE49-F238E27FC236}">
                <a16:creationId xmlns:a16="http://schemas.microsoft.com/office/drawing/2014/main" id="{BC0FF401-2074-4054-7E8A-451414BFE3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485392">
            <a:off x="1128115" y="4253178"/>
            <a:ext cx="790290" cy="79029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手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、インストール画面が開いたら「インストール」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7470728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字幕 14">
            <a:extLst>
              <a:ext uri="{FF2B5EF4-FFF2-40B4-BE49-F238E27FC236}">
                <a16:creationId xmlns:a16="http://schemas.microsoft.com/office/drawing/2014/main" id="{B347B734-B15E-B419-4EAA-BFF20F535F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E6EC2D0D-A107-295E-8D7A-CAC7B5F372BA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10E0D5F-758E-0AD1-6705-AC0A5DE75234}"/>
              </a:ext>
            </a:extLst>
          </p:cNvPr>
          <p:cNvSpPr txBox="1"/>
          <p:nvPr/>
        </p:nvSpPr>
        <p:spPr>
          <a:xfrm>
            <a:off x="628599" y="6257935"/>
            <a:ext cx="4270940" cy="60829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こで「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le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でサインイン」と出る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場合は次のページをご参照ください。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42094823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3743F3CF-12BB-0870-AF4D-719F3F71D6A2}"/>
              </a:ext>
            </a:extLst>
          </p:cNvPr>
          <p:cNvSpPr/>
          <p:nvPr/>
        </p:nvSpPr>
        <p:spPr>
          <a:xfrm>
            <a:off x="251520" y="1556792"/>
            <a:ext cx="4509195" cy="5112568"/>
          </a:xfrm>
          <a:prstGeom prst="roundRect">
            <a:avLst>
              <a:gd name="adj" fmla="val 4788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489C992D-92F1-68DB-CC01-14ADC62B3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9878" y="2780055"/>
            <a:ext cx="3212870" cy="2767824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BB4ADB78-60EC-CF22-8CC4-4CBD239C8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053" y="2711905"/>
            <a:ext cx="2509676" cy="1832132"/>
          </a:xfrm>
          <a:prstGeom prst="rect">
            <a:avLst/>
          </a:prstGeom>
        </p:spPr>
      </p:pic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476540CB-92B9-DE4D-96EF-5630F4255E85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7FA29AE2-AA2D-F063-D6C0-803A4E046040}"/>
              </a:ext>
            </a:extLst>
          </p:cNvPr>
          <p:cNvSpPr/>
          <p:nvPr/>
        </p:nvSpPr>
        <p:spPr>
          <a:xfrm>
            <a:off x="1513927" y="4002047"/>
            <a:ext cx="1233397" cy="35217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C870B2D9-B7A1-E78A-E2BE-4940EDE47896}"/>
              </a:ext>
            </a:extLst>
          </p:cNvPr>
          <p:cNvSpPr/>
          <p:nvPr/>
        </p:nvSpPr>
        <p:spPr>
          <a:xfrm>
            <a:off x="6425733" y="4528338"/>
            <a:ext cx="1200214" cy="37838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9BEF9486-759A-D7B0-1B77-5F900E4B2BD2}"/>
              </a:ext>
            </a:extLst>
          </p:cNvPr>
          <p:cNvSpPr/>
          <p:nvPr/>
        </p:nvSpPr>
        <p:spPr>
          <a:xfrm>
            <a:off x="5760386" y="4076701"/>
            <a:ext cx="2482965" cy="40594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6C6EC1F-7D8E-0E57-DF28-143ABFB02D88}"/>
              </a:ext>
            </a:extLst>
          </p:cNvPr>
          <p:cNvSpPr txBox="1"/>
          <p:nvPr/>
        </p:nvSpPr>
        <p:spPr>
          <a:xfrm>
            <a:off x="373068" y="1714936"/>
            <a:ext cx="427094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　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画面にてインストール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た後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要求される場合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172C911F-C680-04E7-55F4-9A65BECB530C}"/>
              </a:ext>
            </a:extLst>
          </p:cNvPr>
          <p:cNvSpPr txBox="1"/>
          <p:nvPr/>
        </p:nvSpPr>
        <p:spPr>
          <a:xfrm>
            <a:off x="5766807" y="153186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のパスワード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入力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し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サインイン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4703FE8-6557-F7FF-10F0-A7960BA31418}"/>
              </a:ext>
            </a:extLst>
          </p:cNvPr>
          <p:cNvSpPr txBox="1"/>
          <p:nvPr/>
        </p:nvSpPr>
        <p:spPr>
          <a:xfrm>
            <a:off x="5191462" y="149342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5" name="楕円 34">
            <a:extLst>
              <a:ext uri="{FF2B5EF4-FFF2-40B4-BE49-F238E27FC236}">
                <a16:creationId xmlns:a16="http://schemas.microsoft.com/office/drawing/2014/main" id="{B50F70FD-6601-906F-592B-3D63293D9929}"/>
              </a:ext>
            </a:extLst>
          </p:cNvPr>
          <p:cNvSpPr/>
          <p:nvPr/>
        </p:nvSpPr>
        <p:spPr>
          <a:xfrm>
            <a:off x="1246185" y="1797691"/>
            <a:ext cx="292395" cy="2923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3C7320B0-4CD9-061F-0AA0-E27684BD60E1}"/>
              </a:ext>
            </a:extLst>
          </p:cNvPr>
          <p:cNvSpPr txBox="1"/>
          <p:nvPr/>
        </p:nvSpPr>
        <p:spPr>
          <a:xfrm>
            <a:off x="1148777" y="1692266"/>
            <a:ext cx="561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80F5D05B-0E1B-7DAC-1308-9FAD19306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2382" y="4461579"/>
            <a:ext cx="2321022" cy="1999515"/>
          </a:xfrm>
          <a:prstGeom prst="rect">
            <a:avLst/>
          </a:prstGeom>
        </p:spPr>
      </p:pic>
      <p:pic>
        <p:nvPicPr>
          <p:cNvPr id="4" name="グラフィックス 3" descr="矢印: 反時計回りの曲線 単色塗りつぶし">
            <a:extLst>
              <a:ext uri="{FF2B5EF4-FFF2-40B4-BE49-F238E27FC236}">
                <a16:creationId xmlns:a16="http://schemas.microsoft.com/office/drawing/2014/main" id="{F3550354-7352-DF65-5F38-0096F7DB38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898389" y="4253178"/>
            <a:ext cx="790290" cy="79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154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97701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0A60065-2182-96F0-340C-6EA96167A1D0}"/>
              </a:ext>
            </a:extLst>
          </p:cNvPr>
          <p:cNvGrpSpPr>
            <a:grpSpLocks noChangeAspect="1"/>
          </p:cNvGrpSpPr>
          <p:nvPr/>
        </p:nvGrpSpPr>
        <p:grpSpPr>
          <a:xfrm>
            <a:off x="2252784" y="2096434"/>
            <a:ext cx="4638432" cy="3295701"/>
            <a:chOff x="3203849" y="2708275"/>
            <a:chExt cx="2607294" cy="1852536"/>
          </a:xfrm>
        </p:grpSpPr>
        <p:pic>
          <p:nvPicPr>
            <p:cNvPr id="4" name="図 3" descr="パスワードを保存するかどうかを確認する画面の画像">
              <a:extLst>
                <a:ext uri="{FF2B5EF4-FFF2-40B4-BE49-F238E27FC236}">
                  <a16:creationId xmlns:a16="http://schemas.microsoft.com/office/drawing/2014/main" id="{51C23AB4-F621-BBA4-F886-D75302867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03849" y="2708275"/>
              <a:ext cx="2607294" cy="18525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D151E9BE-EA59-3CF0-EBA0-4EDF07CA13CD}"/>
                </a:ext>
              </a:extLst>
            </p:cNvPr>
            <p:cNvSpPr>
              <a:spLocks/>
            </p:cNvSpPr>
            <p:nvPr/>
          </p:nvSpPr>
          <p:spPr>
            <a:xfrm>
              <a:off x="3347498" y="3990696"/>
              <a:ext cx="1092301" cy="40921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6" name="字幕 14">
            <a:extLst>
              <a:ext uri="{FF2B5EF4-FFF2-40B4-BE49-F238E27FC236}">
                <a16:creationId xmlns:a16="http://schemas.microsoft.com/office/drawing/2014/main" id="{E77D8EF3-0766-8461-1759-9A3032CAB080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0AD730-E997-4345-3053-66027DD2B37A}"/>
              </a:ext>
            </a:extLst>
          </p:cNvPr>
          <p:cNvSpPr txBox="1"/>
          <p:nvPr/>
        </p:nvSpPr>
        <p:spPr>
          <a:xfrm>
            <a:off x="3273038" y="151165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29BE103-D8D1-44FE-3D57-602965A8E61A}"/>
              </a:ext>
            </a:extLst>
          </p:cNvPr>
          <p:cNvSpPr txBox="1"/>
          <p:nvPr/>
        </p:nvSpPr>
        <p:spPr>
          <a:xfrm>
            <a:off x="3797173" y="1624355"/>
            <a:ext cx="2127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BB3B372-4C0D-BB11-32B4-027BF2DFA363}"/>
              </a:ext>
            </a:extLst>
          </p:cNvPr>
          <p:cNvSpPr txBox="1"/>
          <p:nvPr/>
        </p:nvSpPr>
        <p:spPr>
          <a:xfrm>
            <a:off x="2591991" y="5536238"/>
            <a:ext cx="3960018" cy="1115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を選択すると、次回以降の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無料アプリインストール時に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パスワードの入力が不要となります</a:t>
            </a:r>
            <a:endParaRPr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4294260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965645" y="763591"/>
            <a:ext cx="6840000" cy="548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.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</a:t>
            </a:r>
            <a:endParaRPr lang="en-US" altLang="ja-JP" sz="28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-A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とは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endParaRPr lang="en-US" altLang="ja-JP" sz="14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    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２．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-A Play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トア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４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５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８</a:t>
            </a:r>
          </a:p>
          <a:p>
            <a:pPr algn="dist"/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spcAft>
                <a:spcPts val="1200"/>
              </a:spcAf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３</a:t>
            </a:r>
            <a:r>
              <a:rPr lang="ja-JP" altLang="en-US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．　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A 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３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P1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８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25489"/>
            <a:chOff x="5669166" y="2712542"/>
            <a:chExt cx="2060365" cy="4065292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6508948" y="6455848"/>
              <a:ext cx="353154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331639" y="2971433"/>
              <a:ext cx="396000" cy="37349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69322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  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8713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pic>
        <p:nvPicPr>
          <p:cNvPr id="15" name="図 14" descr="「App Store」のホーム画面の画像">
            <a:extLst>
              <a:ext uri="{FF2B5EF4-FFF2-40B4-BE49-F238E27FC236}">
                <a16:creationId xmlns:a16="http://schemas.microsoft.com/office/drawing/2014/main" id="{D2401371-D9C6-67D3-4642-367BFFA277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6" t="92885" r="42670" b="594"/>
          <a:stretch/>
        </p:blipFill>
        <p:spPr>
          <a:xfrm>
            <a:off x="6463024" y="1514825"/>
            <a:ext cx="288035" cy="263928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3" name="字幕 14">
            <a:extLst>
              <a:ext uri="{FF2B5EF4-FFF2-40B4-BE49-F238E27FC236}">
                <a16:creationId xmlns:a16="http://schemas.microsoft.com/office/drawing/2014/main" id="{AA529BB9-2CBA-C241-5F3B-1AC5518B820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E6EA0F3-2ADB-D5E5-0410-10E635298748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0047038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52A31555-304A-A6EC-8D81-2C024DD9EDC1}"/>
              </a:ext>
            </a:extLst>
          </p:cNvPr>
          <p:cNvGrpSpPr/>
          <p:nvPr/>
        </p:nvGrpSpPr>
        <p:grpSpPr>
          <a:xfrm>
            <a:off x="5669338" y="2247836"/>
            <a:ext cx="2293429" cy="4491835"/>
            <a:chOff x="1169439" y="2593151"/>
            <a:chExt cx="1986265" cy="4183208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61C6FCC6-72DA-F35B-6F89-8BB89BDC0E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69439" y="2593151"/>
              <a:ext cx="1986265" cy="418320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DAE2C3C6-1AC0-5ADF-5DE1-F0C87221333F}"/>
                </a:ext>
              </a:extLst>
            </p:cNvPr>
            <p:cNvSpPr/>
            <p:nvPr/>
          </p:nvSpPr>
          <p:spPr>
            <a:xfrm>
              <a:off x="1201668" y="5375220"/>
              <a:ext cx="1458453" cy="24495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中から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トップカテゴリ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右にあ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すべて表示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カテゴリの中から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ユーティリティ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AEE4D6A-CC21-833D-579A-7B1F3449F453}"/>
              </a:ext>
            </a:extLst>
          </p:cNvPr>
          <p:cNvGrpSpPr>
            <a:grpSpLocks noChangeAspect="1"/>
          </p:cNvGrpSpPr>
          <p:nvPr/>
        </p:nvGrpSpPr>
        <p:grpSpPr>
          <a:xfrm>
            <a:off x="1183191" y="2265702"/>
            <a:ext cx="2126673" cy="4473970"/>
            <a:chOff x="3471038" y="2552714"/>
            <a:chExt cx="1944498" cy="4090721"/>
          </a:xfrm>
        </p:grpSpPr>
        <p:pic>
          <p:nvPicPr>
            <p:cNvPr id="3" name="図 2" descr="「トップカテゴリ」が表示されたカテゴリの画面の画像">
              <a:extLst>
                <a:ext uri="{FF2B5EF4-FFF2-40B4-BE49-F238E27FC236}">
                  <a16:creationId xmlns:a16="http://schemas.microsoft.com/office/drawing/2014/main" id="{47AE8E8F-D64E-1E82-1D21-E6F113F44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1038" y="2552714"/>
              <a:ext cx="1944498" cy="4090721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C35DC20D-70D6-2FAF-8667-61C3055F7AE5}"/>
                </a:ext>
              </a:extLst>
            </p:cNvPr>
            <p:cNvSpPr/>
            <p:nvPr/>
          </p:nvSpPr>
          <p:spPr>
            <a:xfrm>
              <a:off x="4791884" y="3878231"/>
              <a:ext cx="623651" cy="17821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2" name="字幕 14">
            <a:extLst>
              <a:ext uri="{FF2B5EF4-FFF2-40B4-BE49-F238E27FC236}">
                <a16:creationId xmlns:a16="http://schemas.microsoft.com/office/drawing/2014/main" id="{1B700EF4-5A95-23A4-53AA-D2D17B3F12D0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5573B78-0ED6-15EB-F92F-415F5F51F17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E1A55A-0341-FD43-184E-2E7A4542ABA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9366085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93F6A7EA-2F80-EDA6-D578-6CAC8E7F6DF7}"/>
              </a:ext>
            </a:extLst>
          </p:cNvPr>
          <p:cNvGrpSpPr/>
          <p:nvPr/>
        </p:nvGrpSpPr>
        <p:grpSpPr>
          <a:xfrm>
            <a:off x="5712451" y="2263909"/>
            <a:ext cx="2384661" cy="4491805"/>
            <a:chOff x="9012514" y="247815"/>
            <a:chExt cx="3863608" cy="6858000"/>
          </a:xfrm>
        </p:grpSpPr>
        <p:pic>
          <p:nvPicPr>
            <p:cNvPr id="36" name="図 3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498DE21-1DC5-DCB0-81C3-BD7180EE8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37" name="図 3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97A047F5-6037-46F5-DD6A-B7E8C0A603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noFill/>
            </a:ln>
            <a:effectLst/>
          </p:spPr>
        </p:pic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55DC24C0-6C1A-AA92-4735-6B785589C0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9604" y="4994628"/>
            <a:ext cx="2400663" cy="1752550"/>
          </a:xfrm>
          <a:prstGeom prst="rect">
            <a:avLst/>
          </a:prstGeom>
        </p:spPr>
      </p:pic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C98D866-C484-B5C8-27BD-0E38296CDB5B}"/>
              </a:ext>
            </a:extLst>
          </p:cNvPr>
          <p:cNvSpPr/>
          <p:nvPr/>
        </p:nvSpPr>
        <p:spPr>
          <a:xfrm>
            <a:off x="6792860" y="6214038"/>
            <a:ext cx="1149529" cy="37537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1" name="グラフィックス 30" descr="矢印: 反時計回りの曲線 単色塗りつぶし">
            <a:extLst>
              <a:ext uri="{FF2B5EF4-FFF2-40B4-BE49-F238E27FC236}">
                <a16:creationId xmlns:a16="http://schemas.microsoft.com/office/drawing/2014/main" id="{DAD316EA-79DF-E187-2816-AA485321DD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775707" y="5651390"/>
            <a:ext cx="733634" cy="769168"/>
          </a:xfrm>
          <a:prstGeom prst="rect">
            <a:avLst/>
          </a:prstGeom>
        </p:spPr>
      </p:pic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692B145A-F51C-9882-C09B-5662515AB6B8}"/>
              </a:ext>
            </a:extLst>
          </p:cNvPr>
          <p:cNvGrpSpPr/>
          <p:nvPr/>
        </p:nvGrpSpPr>
        <p:grpSpPr>
          <a:xfrm>
            <a:off x="1054198" y="2267488"/>
            <a:ext cx="2379779" cy="4491805"/>
            <a:chOff x="5752295" y="2565400"/>
            <a:chExt cx="2185554" cy="4087800"/>
          </a:xfrm>
        </p:grpSpPr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F1EA8808-5A4A-02F0-5B9E-68F70DCBD9A8}"/>
                </a:ext>
              </a:extLst>
            </p:cNvPr>
            <p:cNvGrpSpPr/>
            <p:nvPr/>
          </p:nvGrpSpPr>
          <p:grpSpPr>
            <a:xfrm>
              <a:off x="5752295" y="2565400"/>
              <a:ext cx="2185554" cy="4087800"/>
              <a:chOff x="9012514" y="247815"/>
              <a:chExt cx="3855697" cy="6858000"/>
            </a:xfrm>
          </p:grpSpPr>
          <p:pic>
            <p:nvPicPr>
              <p:cNvPr id="13" name="図 1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05D099B3-B894-1876-3EE0-B8495FE89B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12514" y="247815"/>
                <a:ext cx="3855697" cy="6858000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  <p:pic>
            <p:nvPicPr>
              <p:cNvPr id="14" name="図 13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DE4FA55-48ED-18ED-FBB3-70DF9619E2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20"/>
                        </a14:imgEffect>
                        <a14:imgEffect>
                          <a14:sharpenSoften amount="-100000"/>
                        </a14:imgEffect>
                      </a14:imgLayer>
                    </a14:imgProps>
                  </a:ext>
                </a:extLst>
              </a:blip>
              <a:srcRect t="39597" b="8173"/>
              <a:stretch/>
            </p:blipFill>
            <p:spPr>
              <a:xfrm>
                <a:off x="9020425" y="2901834"/>
                <a:ext cx="3843858" cy="3725198"/>
              </a:xfrm>
              <a:prstGeom prst="rect">
                <a:avLst/>
              </a:prstGeom>
              <a:ln w="9525">
                <a:noFill/>
              </a:ln>
              <a:effectLst/>
            </p:spPr>
          </p:pic>
        </p:grpSp>
        <p:sp>
          <p:nvSpPr>
            <p:cNvPr id="15" name="四角形: 角を丸くする 14">
              <a:extLst>
                <a:ext uri="{FF2B5EF4-FFF2-40B4-BE49-F238E27FC236}">
                  <a16:creationId xmlns:a16="http://schemas.microsoft.com/office/drawing/2014/main" id="{6A4BAA7C-CBED-D469-D4DC-198BD24118E4}"/>
                </a:ext>
              </a:extLst>
            </p:cNvPr>
            <p:cNvSpPr/>
            <p:nvPr/>
          </p:nvSpPr>
          <p:spPr>
            <a:xfrm>
              <a:off x="7328756" y="3771416"/>
              <a:ext cx="562844" cy="25648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イナポータ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右にある</a:t>
            </a:r>
          </a:p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入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395611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インストール」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674ADE7D-A163-33D0-60EB-FB9B02E7BA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CE7BCF7-60FB-D6B3-DC92-52D5DCE54FB5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890126-6E05-A28B-7AA0-559562100101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670658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3262377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61261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1403288" y="149515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1978633" y="1495152"/>
            <a:ext cx="5832289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5228574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345C7A7B-D618-766B-3FDB-A2B50B7D9528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B35E96B8-0684-F614-0EAF-C19DD5C40EAD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105086C-8C6B-09AB-BDB5-6D3936E506E9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385C526-33B1-F361-9DAD-C06869FE4222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07F7149-4944-2B14-CABD-02CBBDDED894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705260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図形, 正方形&#10;&#10;自動的に生成された説明">
            <a:extLst>
              <a:ext uri="{FF2B5EF4-FFF2-40B4-BE49-F238E27FC236}">
                <a16:creationId xmlns:a16="http://schemas.microsoft.com/office/drawing/2014/main" id="{BD908C8C-254D-9B23-60F7-D633DE3F9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3501008"/>
            <a:ext cx="1354107" cy="2671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B8D478C-21C1-A7A3-836E-F8A97684DB7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1F1713F0-66A3-4CA5-C887-248B91842460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インストール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689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-93029"/>
            <a:ext cx="2837636" cy="800091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lang="ja-JP" altLang="en-US" dirty="0"/>
              <a:t>インストールとは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>
            <a:spLocks/>
          </p:cNvSpPr>
          <p:nvPr/>
        </p:nvSpPr>
        <p:spPr>
          <a:xfrm>
            <a:off x="515146" y="1987825"/>
            <a:ext cx="7479752" cy="35461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インストールとは、スマートフォン等のデジタル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器に、アプリケーション等のソフトウェア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んで使えるようにすることです。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手持ちのスマートフォンにはじめから入っている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能以外にもご自身の使い方にあわせて機能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むことでスマートフォンを自分好みに設定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ることができます。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12E18E0F-D647-EDFE-E228-B3C3FF18FE9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CAF2A2EC-0370-A94F-EBD6-DA18740E7E94}"/>
              </a:ext>
            </a:extLst>
          </p:cNvPr>
          <p:cNvGrpSpPr/>
          <p:nvPr/>
        </p:nvGrpSpPr>
        <p:grpSpPr>
          <a:xfrm>
            <a:off x="6897613" y="1286938"/>
            <a:ext cx="2016029" cy="4049278"/>
            <a:chOff x="6903759" y="1669031"/>
            <a:chExt cx="1626403" cy="3266700"/>
          </a:xfrm>
        </p:grpSpPr>
        <p:pic>
          <p:nvPicPr>
            <p:cNvPr id="5" name="図 4" descr="図形, 正方形&#10;&#10;自動的に生成された説明">
              <a:extLst>
                <a:ext uri="{FF2B5EF4-FFF2-40B4-BE49-F238E27FC236}">
                  <a16:creationId xmlns:a16="http://schemas.microsoft.com/office/drawing/2014/main" id="{BF40132F-97A9-7C0F-DB1D-E116D6F3E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95330" y="2780928"/>
              <a:ext cx="1092407" cy="2154803"/>
            </a:xfrm>
            <a:prstGeom prst="rect">
              <a:avLst/>
            </a:prstGeom>
          </p:spPr>
        </p:pic>
        <p:pic>
          <p:nvPicPr>
            <p:cNvPr id="7" name="図 6" descr="アイコン&#10;&#10;自動的に生成された説明">
              <a:extLst>
                <a:ext uri="{FF2B5EF4-FFF2-40B4-BE49-F238E27FC236}">
                  <a16:creationId xmlns:a16="http://schemas.microsoft.com/office/drawing/2014/main" id="{1F7CCBC7-42FA-CF70-C720-AF91FC1B5A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1877" r="51528"/>
            <a:stretch/>
          </p:blipFill>
          <p:spPr>
            <a:xfrm>
              <a:off x="6903759" y="1669031"/>
              <a:ext cx="1626403" cy="1314379"/>
            </a:xfrm>
            <a:prstGeom prst="rect">
              <a:avLst/>
            </a:prstGeom>
          </p:spPr>
        </p:pic>
      </p:grpSp>
      <p:pic>
        <p:nvPicPr>
          <p:cNvPr id="9" name="図 8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6A61ED43-542F-BFB8-8526-14950FD65A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11972" y="1843175"/>
            <a:ext cx="427379" cy="419881"/>
          </a:xfrm>
          <a:prstGeom prst="rect">
            <a:avLst/>
          </a:prstGeom>
        </p:spPr>
      </p:pic>
      <p:pic>
        <p:nvPicPr>
          <p:cNvPr id="11" name="図 10" descr="「App Store（アップストア）」のアイコンの画像">
            <a:extLst>
              <a:ext uri="{FF2B5EF4-FFF2-40B4-BE49-F238E27FC236}">
                <a16:creationId xmlns:a16="http://schemas.microsoft.com/office/drawing/2014/main" id="{02B9BCA8-732F-CB90-E775-E738567F3E6B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73020" y="1842932"/>
            <a:ext cx="381611" cy="39686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FF80F-A6F4-7941-D6C1-DDDFBDECA2E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1696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72922F52-9E73-B685-232B-AC517DA0DD13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8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6" name="図 5" descr="時計 が含まれている画像&#10;&#10;自動的に生成された説明">
            <a:extLst>
              <a:ext uri="{FF2B5EF4-FFF2-40B4-BE49-F238E27FC236}">
                <a16:creationId xmlns:a16="http://schemas.microsoft.com/office/drawing/2014/main" id="{42070836-44ED-1E17-1E54-66A3B6AF6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4005064"/>
            <a:ext cx="2270241" cy="2305168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0236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733275" y="3878287"/>
            <a:ext cx="7677447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647426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Play</a:t>
            </a:r>
            <a:r>
              <a:rPr lang="ja-JP" altLang="en-US" dirty="0"/>
              <a:t>ストアからインストール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748117" y="2178321"/>
            <a:ext cx="5624108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Play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ス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ト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色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々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アプリ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入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、</a:t>
            </a:r>
            <a:endParaRPr lang="en-US" altLang="ja-JP" spc="-6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から入手でき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全て</a:t>
            </a:r>
            <a:r>
              <a:rPr lang="en-US" altLang="ja-JP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Google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を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で 安全性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保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。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と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無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が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あ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り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ご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意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。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</p:txBody>
      </p:sp>
      <p:graphicFrame>
        <p:nvGraphicFramePr>
          <p:cNvPr id="92" name="object 7">
            <a:extLst>
              <a:ext uri="{FF2B5EF4-FFF2-40B4-BE49-F238E27FC236}">
                <a16:creationId xmlns:a16="http://schemas.microsoft.com/office/drawing/2014/main" id="{68C7B20D-4E06-4A73-BB9B-0B7DC60C7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564443"/>
              </p:ext>
            </p:extLst>
          </p:nvPr>
        </p:nvGraphicFramePr>
        <p:xfrm>
          <a:off x="729332" y="3870908"/>
          <a:ext cx="7677447" cy="1588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4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0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1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Play</a:t>
                      </a:r>
                      <a:r>
                        <a:rPr lang="ja-JP" altLang="en-US" sz="1800" b="0" spc="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ス</a:t>
                      </a:r>
                      <a:r>
                        <a:rPr lang="ja-JP" altLang="en-US" sz="1800" b="0" spc="1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トア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　　　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　　を　　</a:t>
                      </a:r>
                      <a:endParaRPr lang="en-US" altLang="ja-JP" sz="1800" b="0" i="0" spc="-750" baseline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Play</a:t>
                      </a:r>
                      <a:r>
                        <a:rPr lang="en-US" altLang="ja-JP" sz="1800" b="0" i="0" spc="-6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ス</a:t>
                      </a:r>
                      <a:r>
                        <a:rPr lang="ja-JP" altLang="en-US" sz="1800" b="0" i="0" spc="-1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ト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Google(Ver35.6.11-21)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タイトル 1">
            <a:extLst>
              <a:ext uri="{FF2B5EF4-FFF2-40B4-BE49-F238E27FC236}">
                <a16:creationId xmlns:a16="http://schemas.microsoft.com/office/drawing/2014/main" id="{7ADDB1A9-F5D9-75DF-5063-E39F63AD7D2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10" name="図 9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05969EB0-39A9-92D5-679D-58429CACFB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59815" y="4352596"/>
            <a:ext cx="812975" cy="798712"/>
          </a:xfrm>
          <a:prstGeom prst="rect">
            <a:avLst/>
          </a:prstGeom>
        </p:spPr>
      </p:pic>
      <p:sp>
        <p:nvSpPr>
          <p:cNvPr id="7" name="字幕 14">
            <a:extLst>
              <a:ext uri="{FF2B5EF4-FFF2-40B4-BE49-F238E27FC236}">
                <a16:creationId xmlns:a16="http://schemas.microsoft.com/office/drawing/2014/main" id="{BDDBF5B9-E846-8012-AACC-4DB240F139B5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lay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トアからアプリをインストール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0094B3C-0A05-A69D-64A3-AED42C3A8BE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9637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22D5565-578B-1AB3-0C16-E8E4FA6C79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6807" y="2254441"/>
            <a:ext cx="2154208" cy="44985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48617" y="4899133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3408ABB-7886-8F47-3FA2-7543318BFC9C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1DC1297D-4A23-8B5E-83DD-2D0DBCE9A54A}"/>
              </a:ext>
            </a:extLst>
          </p:cNvPr>
          <p:cNvSpPr/>
          <p:nvPr/>
        </p:nvSpPr>
        <p:spPr>
          <a:xfrm>
            <a:off x="5829324" y="2424853"/>
            <a:ext cx="2021516" cy="38834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8" name="図 7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25650EFD-AEA7-103B-294F-3949EE37F09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512343" y="1885295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93967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552833E2-8154-5878-981D-AE703A79868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4887014-E608-1DD2-19B4-266A6D210554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0B25789-FFA0-76EC-4544-5C1506909704}"/>
              </a:ext>
            </a:extLst>
          </p:cNvPr>
          <p:cNvSpPr txBox="1"/>
          <p:nvPr/>
        </p:nvSpPr>
        <p:spPr>
          <a:xfrm>
            <a:off x="1111434" y="1445304"/>
            <a:ext cx="320604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58EBE1AC-03DA-AE88-1264-6902B7BF7AFA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85DB279-1405-76E5-5801-DEF3BFF435BF}"/>
              </a:ext>
            </a:extLst>
          </p:cNvPr>
          <p:cNvSpPr txBox="1"/>
          <p:nvPr/>
        </p:nvSpPr>
        <p:spPr>
          <a:xfrm>
            <a:off x="5766807" y="1447009"/>
            <a:ext cx="327222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の中から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482EA369-3F39-56C1-91D5-2D7B678078E1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図 89" descr="検索ボックスに表示された「マイナポータル」を表示した画像">
            <a:extLst>
              <a:ext uri="{FF2B5EF4-FFF2-40B4-BE49-F238E27FC236}">
                <a16:creationId xmlns:a16="http://schemas.microsoft.com/office/drawing/2014/main" id="{07A99C13-2255-4555-AE08-5396174A45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966" y="2603699"/>
            <a:ext cx="3278700" cy="312996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3443C5B6-FE65-EBFE-7D1A-54388BB4F15D}"/>
              </a:ext>
            </a:extLst>
          </p:cNvPr>
          <p:cNvSpPr/>
          <p:nvPr/>
        </p:nvSpPr>
        <p:spPr>
          <a:xfrm>
            <a:off x="739909" y="2603699"/>
            <a:ext cx="2742888" cy="40888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A6993E0D-2812-6D32-087D-F7FE6C45A655}"/>
              </a:ext>
            </a:extLst>
          </p:cNvPr>
          <p:cNvSpPr/>
          <p:nvPr/>
        </p:nvSpPr>
        <p:spPr>
          <a:xfrm>
            <a:off x="739908" y="3459622"/>
            <a:ext cx="3011023" cy="22740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3D015766-AFD4-1453-2BC4-D1501360F0F2}"/>
              </a:ext>
            </a:extLst>
          </p:cNvPr>
          <p:cNvSpPr txBox="1"/>
          <p:nvPr/>
        </p:nvSpPr>
        <p:spPr>
          <a:xfrm>
            <a:off x="63512" y="5852201"/>
            <a:ext cx="4363812" cy="551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  <a:endParaRPr lang="en-US" altLang="ja-JP" kern="100" dirty="0">
              <a:solidFill>
                <a:srgbClr val="FF33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28" name="グラフィックス 27" descr="矢印: 反時計回りの曲線 単色塗りつぶし">
            <a:extLst>
              <a:ext uri="{FF2B5EF4-FFF2-40B4-BE49-F238E27FC236}">
                <a16:creationId xmlns:a16="http://schemas.microsoft.com/office/drawing/2014/main" id="{C1DAE507-F745-D4C7-CE96-1E4F5B8D9D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1664850">
            <a:off x="63513" y="2948255"/>
            <a:ext cx="878806" cy="878807"/>
          </a:xfrm>
          <a:prstGeom prst="rect">
            <a:avLst/>
          </a:prstGeom>
          <a:effectLst/>
        </p:spPr>
      </p:pic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BE46903A-8E8B-7FAF-644C-F7DEA03D238D}"/>
              </a:ext>
            </a:extLst>
          </p:cNvPr>
          <p:cNvGrpSpPr>
            <a:grpSpLocks noChangeAspect="1"/>
          </p:cNvGrpSpPr>
          <p:nvPr/>
        </p:nvGrpSpPr>
        <p:grpSpPr>
          <a:xfrm>
            <a:off x="5331825" y="2609882"/>
            <a:ext cx="3272223" cy="3123779"/>
            <a:chOff x="1023283" y="2708275"/>
            <a:chExt cx="2195463" cy="2095866"/>
          </a:xfrm>
        </p:grpSpPr>
        <p:pic>
          <p:nvPicPr>
            <p:cNvPr id="29" name="図 28" descr="検索ボックスに表示された「マイナポータル」を表示した画像">
              <a:extLst>
                <a:ext uri="{FF2B5EF4-FFF2-40B4-BE49-F238E27FC236}">
                  <a16:creationId xmlns:a16="http://schemas.microsoft.com/office/drawing/2014/main" id="{16E5EA70-E97D-CE2A-D6E5-A96AA65B6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3283" y="2708275"/>
              <a:ext cx="2195463" cy="209586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999531E-59EB-5303-50E3-4C4CDC0CDFC2}"/>
                </a:ext>
              </a:extLst>
            </p:cNvPr>
            <p:cNvSpPr/>
            <p:nvPr/>
          </p:nvSpPr>
          <p:spPr>
            <a:xfrm>
              <a:off x="1101590" y="3312879"/>
              <a:ext cx="1836676" cy="27379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4" name="字幕 14">
            <a:extLst>
              <a:ext uri="{FF2B5EF4-FFF2-40B4-BE49-F238E27FC236}">
                <a16:creationId xmlns:a16="http://schemas.microsoft.com/office/drawing/2014/main" id="{F4918314-851B-B1E4-92B1-DF1CF8AD33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7466B9A-D053-A3C9-B929-07BCC9D3AA8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6819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801783" y="3310797"/>
              <a:ext cx="554944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57540"/>
              <a:ext cx="765681" cy="30117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91511AC5-6B52-4500-4D5F-D9D8E5980C9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A03439E-66F7-129D-0E8B-F110FF87CC63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16716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a11c2663ab92a0fbc46fe69a28746cc2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3f16d3a62d112188cee080a689bad3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CC10A4-87E4-4D7B-8854-C45798EAB5A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21</Words>
  <Application>Microsoft Office PowerPoint</Application>
  <PresentationFormat>画面に合わせる (4:3)</PresentationFormat>
  <Paragraphs>305</Paragraphs>
  <Slides>25</Slides>
  <Notes>2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5</vt:i4>
      </vt:variant>
    </vt:vector>
  </HeadingPairs>
  <TitlesOfParts>
    <vt:vector size="37" baseType="lpstr">
      <vt:lpstr>BIZ UDPゴシック</vt:lpstr>
      <vt:lpstr>Meiryo</vt:lpstr>
      <vt:lpstr>Yu Gothic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 インストールとは</vt:lpstr>
      <vt:lpstr>PowerPoint プレゼンテーション</vt:lpstr>
      <vt:lpstr>Playストアからインストール</vt:lpstr>
      <vt:lpstr>アプリの名前から探してインストール</vt:lpstr>
      <vt:lpstr>アプリの名前から探してインストール</vt:lpstr>
      <vt:lpstr>アプリの名前から探してインストール</vt:lpstr>
      <vt:lpstr>カテゴリから探してインストール</vt:lpstr>
      <vt:lpstr>カテゴリから探してインストール</vt:lpstr>
      <vt:lpstr>カテゴリから探してインストール</vt:lpstr>
      <vt:lpstr>PowerPoint プレゼンテーション</vt:lpstr>
      <vt:lpstr>App Storeからインストール</vt:lpstr>
      <vt:lpstr>3-B</vt:lpstr>
      <vt:lpstr>3-B</vt:lpstr>
      <vt:lpstr>3-B</vt:lpstr>
      <vt:lpstr>3-B</vt:lpstr>
      <vt:lpstr>3-B</vt:lpstr>
      <vt:lpstr>3-C</vt:lpstr>
      <vt:lpstr>3-C</vt:lpstr>
      <vt:lpstr>3-C</vt:lpstr>
      <vt:lpstr>3-C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88</cp:revision>
  <dcterms:created xsi:type="dcterms:W3CDTF">2021-08-16T09:05:36Z</dcterms:created>
  <dcterms:modified xsi:type="dcterms:W3CDTF">2025-10-02T06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  <property fmtid="{D5CDD505-2E9C-101B-9397-08002B2CF9AE}" pid="4" name="Order">
    <vt:r8>199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